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95" r:id="rId5"/>
    <p:sldId id="262" r:id="rId6"/>
    <p:sldId id="263" r:id="rId7"/>
    <p:sldId id="286" r:id="rId8"/>
    <p:sldId id="265" r:id="rId9"/>
    <p:sldId id="266" r:id="rId10"/>
    <p:sldId id="267" r:id="rId11"/>
    <p:sldId id="272" r:id="rId12"/>
    <p:sldId id="294" r:id="rId13"/>
    <p:sldId id="274" r:id="rId14"/>
    <p:sldId id="273" r:id="rId15"/>
    <p:sldId id="297" r:id="rId16"/>
    <p:sldId id="298" r:id="rId17"/>
    <p:sldId id="299" r:id="rId18"/>
    <p:sldId id="300" r:id="rId19"/>
    <p:sldId id="277" r:id="rId20"/>
    <p:sldId id="278" r:id="rId21"/>
    <p:sldId id="279" r:id="rId22"/>
    <p:sldId id="280" r:id="rId23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Franklin Gothic" panose="020B0604020202020204" charset="0"/>
      <p:regular r:id="rId29"/>
      <p:bold r:id="rId30"/>
      <p:italic r:id="rId31"/>
      <p:boldItalic r:id="rId32"/>
    </p:embeddedFont>
    <p:embeddedFont>
      <p:font typeface="Gill Sans" panose="020B0604020202020204" charset="0"/>
      <p:regular r:id="rId33"/>
      <p:bold r:id="rId34"/>
    </p:embeddedFon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Noto Sans" panose="020B050204050402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8" roundtripDataSignature="AMtx7milhZJ1gkVWxG7Ah64tLsnzoHjrb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9" d="100"/>
          <a:sy n="89" d="100"/>
        </p:scale>
        <p:origin x="43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ags" Target="tags/tag1.xml"/><Relationship Id="rId48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20" Type="http://schemas.openxmlformats.org/officeDocument/2006/relationships/slide" Target="slides/slide19.xml"/><Relationship Id="rId41" Type="http://schemas.openxmlformats.org/officeDocument/2006/relationships/font" Target="fonts/font1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7" name="Google Shape;31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12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34" name="Google Shape;1134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52" name="Google Shape;75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886297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220562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6631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247297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3" name="Google Shape;156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64" name="Google Shape;15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3" name="Google Shape;32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13" name="Google Shape;161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2017e917d32_0_20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79" name="Google Shape;1679;g2017e917d32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01" name="Google Shape;170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2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1" name="Google Shape;37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12769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0" name="Google Shape;550;p8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Google Shape;578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9" name="Google Shape;579;p44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27" name="Google Shape;62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688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0" name="Google Shape;660;p1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g121061837f4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2" name="Google Shape;692;g121061837f4_0_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00" cy="25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5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 type="title">
  <p:cSld name="TITLE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15"/>
          <p:cNvPicPr preferRelativeResize="0"/>
          <p:nvPr/>
        </p:nvPicPr>
        <p:blipFill rotWithShape="1">
          <a:blip r:embed="rId2">
            <a:alphaModFix/>
          </a:blip>
          <a:srcRect t="15097" r="6942" b="15095"/>
          <a:stretch/>
        </p:blipFill>
        <p:spPr>
          <a:xfrm>
            <a:off x="550861" y="549274"/>
            <a:ext cx="11090275" cy="5759451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" name="Google Shape;33;p15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" name="Google Shape;3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1950" y="1603956"/>
            <a:ext cx="2497452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15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15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5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">
  <p:cSld name="4 Colum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09" name="Google Shape;109;p25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5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5"/>
          </p:nvPr>
        </p:nvSpPr>
        <p:spPr>
          <a:xfrm>
            <a:off x="33956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6"/>
          </p:nvPr>
        </p:nvSpPr>
        <p:spPr>
          <a:xfrm>
            <a:off x="33956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7"/>
          </p:nvPr>
        </p:nvSpPr>
        <p:spPr>
          <a:xfrm>
            <a:off x="9086263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8"/>
          </p:nvPr>
        </p:nvSpPr>
        <p:spPr>
          <a:xfrm>
            <a:off x="9086263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2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21" name="Google Shape;121;p26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26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26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6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26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26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26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26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26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2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Grey on Left">
  <p:cSld name="1/3 Grey on Lef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7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" name="Google Shape;134;p27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36" name="Google Shape;136;p2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27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28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2" name="Google Shape;142;p2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" name="Google Shape;143;p28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9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p29"/>
          <p:cNvSpPr txBox="1">
            <a:spLocks noGrp="1"/>
          </p:cNvSpPr>
          <p:nvPr>
            <p:ph type="title"/>
          </p:nvPr>
        </p:nvSpPr>
        <p:spPr>
          <a:xfrm>
            <a:off x="549232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8" name="Google Shape;148;p2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29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3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3" name="Google Shape;153;p30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4" name="Google Shape;154;p3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5" name="Google Shape;155;p3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3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3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3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3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3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3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3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3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3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3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3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3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" name="Google Shape;168;p3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70" name="Google Shape;170;p3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1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Google Shape;173;p31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75" name="Google Shape;175;p3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6" name="Google Shape;176;p3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77" name="Google Shape;177;p3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3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3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3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3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3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3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3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3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3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3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3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3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" name="Google Shape;190;p3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3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32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32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2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96" name="Google Shape;196;p32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7" name="Google Shape;197;p32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98" name="Google Shape;198;p32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32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32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32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32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32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04;p32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05;p32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06;p32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p32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p32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32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32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32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3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Google Shape;214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3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196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33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>
                  <a:alpha val="8196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33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8" name="Google Shape;218;p33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9" name="Google Shape;219;p3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3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3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3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3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3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3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3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3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3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3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3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3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2" name="Google Shape;232;p33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3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" name="Google Shape;235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p3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1960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4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8" name="Google Shape;238;p3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9" name="Google Shape;239;p3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3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3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3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3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3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3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3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47;p3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48;p3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p3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50;p3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3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252;p3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3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254" name="Google Shape;254;p34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6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16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42" name="Google Shape;42;p16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35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57" name="Google Shape;257;p35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58" name="Google Shape;258;p35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9" name="Google Shape;259;p35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0" name="Google Shape;260;p35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1" name="Google Shape;261;p35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35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35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35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35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35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35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35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35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35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35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35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35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35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35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35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35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35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35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35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1" name="Google Shape;281;p35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35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35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27058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4" name="Google Shape;284;p35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285" name="Google Shape;285;p35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35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35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35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35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35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35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35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35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35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35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6" name="Google Shape;296;p35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35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8" name="Google Shape;298;p3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9" name="Google Shape;299;p35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00" name="Google Shape;300;p35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301;p35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35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35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35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ull-width Page">
  <p:cSld name="7_Full-width Page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Google Shape;306;p36" descr="A picture containing bed, man, white, ca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428"/>
            <a:ext cx="4057839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07" name="Google Shape;307;p36"/>
          <p:cNvSpPr/>
          <p:nvPr/>
        </p:nvSpPr>
        <p:spPr>
          <a:xfrm>
            <a:off x="0" y="1"/>
            <a:ext cx="4057838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36"/>
          <p:cNvSpPr txBox="1">
            <a:spLocks noGrp="1"/>
          </p:cNvSpPr>
          <p:nvPr>
            <p:ph type="title"/>
          </p:nvPr>
        </p:nvSpPr>
        <p:spPr>
          <a:xfrm>
            <a:off x="533401" y="2514600"/>
            <a:ext cx="3124199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Franklin Gothic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3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lain White">
  <p:cSld name="Plain White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37"/>
          <p:cNvSpPr txBox="1"/>
          <p:nvPr/>
        </p:nvSpPr>
        <p:spPr>
          <a:xfrm>
            <a:off x="11260138" y="6416632"/>
            <a:ext cx="381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fld id="{00000000-1234-1234-1234-123412341234}" type="slidenum"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_Title with BG">
  <p:cSld name="WHITE_Title with BG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grpSp>
        <p:nvGrpSpPr>
          <p:cNvPr id="45" name="Google Shape;45;p1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6" name="Google Shape;46;p1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1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1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1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1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1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1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1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1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9" name="Google Shape;59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20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74;p20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20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20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21"/>
          <p:cNvPicPr preferRelativeResize="0"/>
          <p:nvPr/>
        </p:nvPicPr>
        <p:blipFill rotWithShape="1">
          <a:blip r:embed="rId2">
            <a:alphaModFix/>
          </a:blip>
          <a:srcRect t="13558" r="6942" b="13557"/>
          <a:stretch/>
        </p:blipFill>
        <p:spPr>
          <a:xfrm>
            <a:off x="269999" y="270000"/>
            <a:ext cx="11652000" cy="631799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79" name="Google Shape;79;p21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21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83" name="Google Shape;8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9" name="Google Shape;99;p24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24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24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417D7E-076D-E41E-A9A1-609B2987E0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375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1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1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1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1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1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1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1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1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1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1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1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1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1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1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14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1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1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" name="Google Shape;29;p1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1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432ED7-A1EA-D04A-89F0-C8BDEFDBB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58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Google Shape;319;p1"/>
          <p:cNvSpPr txBox="1">
            <a:spLocks noGrp="1"/>
          </p:cNvSpPr>
          <p:nvPr>
            <p:ph type="ctrTitle"/>
          </p:nvPr>
        </p:nvSpPr>
        <p:spPr>
          <a:xfrm>
            <a:off x="1603960" y="362026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Franklin Gothic"/>
              <a:buNone/>
            </a:pPr>
            <a:r>
              <a:rPr lang="fr-FR" sz="7200" dirty="0"/>
              <a:t>Who’s </a:t>
            </a:r>
            <a:r>
              <a:rPr lang="fr-FR" sz="7200" dirty="0" err="1"/>
              <a:t>Who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A10ADF-F07E-8824-9291-DAEA35B40B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24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4" name="Google Shape;724;p12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5" name="Google Shape;725;p1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ffice Admin Team</a:t>
            </a:r>
            <a:endParaRPr dirty="0"/>
          </a:p>
        </p:txBody>
      </p:sp>
      <p:sp>
        <p:nvSpPr>
          <p:cNvPr id="726" name="Google Shape;726;p12"/>
          <p:cNvSpPr/>
          <p:nvPr/>
        </p:nvSpPr>
        <p:spPr>
          <a:xfrm>
            <a:off x="6931024" y="2005337"/>
            <a:ext cx="4707467" cy="409855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life events planning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l services management (e.g. clean desk, maintenance, management of cleaning force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curity &amp; Safety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om &amp; VC book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rier plann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ring and every-day lunch orders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k-up &amp; transfer management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procedures support (e.g. taxes, VISA, work permit, mobility program).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XA enrollment &amp; contribution retrieval (Casa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vel perk book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fts purchases (work anniversaries and events etc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27" name="Google Shape;727;p12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8" name="Google Shape;728;p12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Google Shape;729;p12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4" name="Google Shape;734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02671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5" name="Google Shape;73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40641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6" name="Google Shape;736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2953917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7" name="Google Shape;737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297369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8" name="Google Shape;738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361785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9" name="Google Shape;739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396598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0" name="Google Shape;740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30944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1" name="Google Shape;741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1042" y="4652892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2" name="Google Shape;742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208326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3" name="Google Shape;743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571605"/>
            <a:ext cx="220544" cy="220544"/>
          </a:xfrm>
          <a:prstGeom prst="rect">
            <a:avLst/>
          </a:prstGeom>
          <a:noFill/>
          <a:ln>
            <a:noFill/>
          </a:ln>
        </p:spPr>
      </p:pic>
      <p:sp>
        <p:nvSpPr>
          <p:cNvPr id="744" name="Google Shape;744;p1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0</a:t>
            </a:fld>
            <a:endParaRPr/>
          </a:p>
        </p:txBody>
      </p:sp>
      <p:pic>
        <p:nvPicPr>
          <p:cNvPr id="745" name="Google Shape;745;p1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28630" y="5876744"/>
            <a:ext cx="220544" cy="2205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" name="Google Shape;1136;p46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1137" name="Google Shape;1137;p46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" name="Google Shape;1138;p46"/>
          <p:cNvSpPr/>
          <p:nvPr/>
        </p:nvSpPr>
        <p:spPr>
          <a:xfrm>
            <a:off x="3578873" y="1194486"/>
            <a:ext cx="2125612" cy="312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777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None/>
            </a:pP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Composed of generalists' profiles working with the different MCK offices all around the worl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Align the staffing based on the sectors covered (Finance, Public sector, Energy, etc. 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upport the client both on short and long reques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Main clients / users are from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-  The Middle East (UAE, KSA, and   Egypt),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Europe (France, Iberia, Benelux, UK, Poland, etc.),   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Africa (Morocco, South Africa, Kenya, Nigeria, Angola, .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 -ROW (USA, Canada, India, Pakistan)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" name="Google Shape;1139;p46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40" name="Google Shape;1140;p46"/>
          <p:cNvGrpSpPr/>
          <p:nvPr/>
        </p:nvGrpSpPr>
        <p:grpSpPr>
          <a:xfrm>
            <a:off x="5719033" y="1194486"/>
            <a:ext cx="3580018" cy="3385906"/>
            <a:chOff x="6838838" y="2506636"/>
            <a:chExt cx="3580348" cy="3351426"/>
          </a:xfrm>
        </p:grpSpPr>
        <p:sp>
          <p:nvSpPr>
            <p:cNvPr id="1141" name="Google Shape;1141;p46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2" name="Google Shape;1142;p46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3" name="Google Shape;1143;p46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4" name="Google Shape;1144;p46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" name="Google Shape;1145;p46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" name="Google Shape;1146;p46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7" name="Google Shape;1147;p46"/>
            <p:cNvSpPr/>
            <p:nvPr/>
          </p:nvSpPr>
          <p:spPr>
            <a:xfrm>
              <a:off x="8067132" y="4506070"/>
              <a:ext cx="1287776" cy="822535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IKT (Insight &amp; </a:t>
              </a:r>
              <a:r>
                <a:rPr lang="fr-FR" sz="1800" b="1" i="0" u="none" strike="noStrike" cap="none" dirty="0" err="1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Knowledge</a:t>
              </a:r>
              <a:r>
                <a:rPr lang="fr-FR" sz="1800" b="1" i="0" u="none" strike="noStrike" cap="none" dirty="0">
                  <a:solidFill>
                    <a:schemeClr val="tx1"/>
                  </a:solidFill>
                  <a:latin typeface="Calibri"/>
                  <a:ea typeface="Calibri"/>
                  <a:cs typeface="Calibri"/>
                  <a:sym typeface="Calibri"/>
                </a:rPr>
                <a:t>) Team</a:t>
              </a:r>
              <a:endParaRPr sz="14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46"/>
            <p:cNvSpPr/>
            <p:nvPr/>
          </p:nvSpPr>
          <p:spPr>
            <a:xfrm>
              <a:off x="7457604" y="3209932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CK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46"/>
            <p:cNvSpPr/>
            <p:nvPr/>
          </p:nvSpPr>
          <p:spPr>
            <a:xfrm>
              <a:off x="8911621" y="3154121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CG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46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1" name="Google Shape;1151;p46"/>
          <p:cNvSpPr/>
          <p:nvPr/>
        </p:nvSpPr>
        <p:spPr>
          <a:xfrm>
            <a:off x="6571136" y="4842092"/>
            <a:ext cx="2189544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erves all of Infomineo’s clients that are not engaged in a big retain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Execute complex projects that require strong analytical skills and creativit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Deliver high value-added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Build diversified expertise to support a large number of clients with different needs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" name="Google Shape;1152;p46"/>
          <p:cNvSpPr txBox="1"/>
          <p:nvPr/>
        </p:nvSpPr>
        <p:spPr>
          <a:xfrm>
            <a:off x="309875" y="2791755"/>
            <a:ext cx="2945132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</a:t>
            </a:r>
            <a:r>
              <a:rPr lang="fr-FR" sz="3200" b="0" i="0" u="none" strike="noStrike" cap="none" dirty="0" err="1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Research</a:t>
            </a:r>
            <a:r>
              <a:rPr lang="fr-FR" sz="3200" b="0" i="0" u="none" strike="noStrike" cap="none" dirty="0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 Team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" name="Google Shape;1153;p4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1</a:t>
            </a:fld>
            <a:endParaRPr/>
          </a:p>
        </p:txBody>
      </p:sp>
      <p:sp>
        <p:nvSpPr>
          <p:cNvPr id="1154" name="Google Shape;1154;p46"/>
          <p:cNvSpPr txBox="1"/>
          <p:nvPr/>
        </p:nvSpPr>
        <p:spPr>
          <a:xfrm>
            <a:off x="9281491" y="1312872"/>
            <a:ext cx="2770500" cy="38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Comprised of 3 different sub-teams focusing on different geographies (Europe &amp; Africa, Middle East, and KT Global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ach Team member having 30+ databases at their disposal incl. big names such as Euromonitor, Oxford Economics, BMI, Global Data,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Working as a full off-site extension of the client research team capabilities with access to a big portion of BCG tools incl. email addresses &amp; slack communic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Researchers work directly with the case teams with no intermediaries, mainly on short engagements (4-8 hours) although long engagements lasting weeks are becoming more regu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Offers sectorial specialization in different topics incl. (Industrial goods, Technology, Public Sector, Healthcare, Consumer products, etc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41EF53-9D72-409C-7EDE-FF0268C93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22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4" name="Google Shape;754;p4"/>
          <p:cNvSpPr txBox="1">
            <a:spLocks noGrp="1"/>
          </p:cNvSpPr>
          <p:nvPr>
            <p:ph type="title"/>
          </p:nvPr>
        </p:nvSpPr>
        <p:spPr>
          <a:xfrm>
            <a:off x="509222" y="59253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/>
              <a:t>Business Research Leaders</a:t>
            </a:r>
            <a:endParaRPr lang="en-US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4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2</a:t>
            </a:fld>
            <a:endParaRPr/>
          </a:p>
        </p:txBody>
      </p:sp>
      <p:sp>
        <p:nvSpPr>
          <p:cNvPr id="756" name="Google Shape;756;p4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3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51890" y="5235788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36890" y="5312738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971" y="5208212"/>
            <a:ext cx="365760" cy="209398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KT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64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5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506513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514208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5037554"/>
            <a:ext cx="365760" cy="20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81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7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2906287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E708F-C499-3356-3D74-A94602DF73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00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E708F-C499-3356-3D74-A94602DF7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</a:t>
            </a:r>
            <a:r>
              <a:rPr lang="en-US" dirty="0"/>
              <a:t>Team Members</a:t>
            </a:r>
            <a:endParaRPr dirty="0"/>
          </a:p>
        </p:txBody>
      </p:sp>
      <p:sp>
        <p:nvSpPr>
          <p:cNvPr id="1247" name="Google Shape;1247;g2017e917d32_0_4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7</a:t>
            </a:fld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170;p39">
            <a:extLst>
              <a:ext uri="{FF2B5EF4-FFF2-40B4-BE49-F238E27FC236}">
                <a16:creationId xmlns:a16="http://schemas.microsoft.com/office/drawing/2014/main" id="{8559D611-E3CA-9FAD-4C1A-C58A6E9CACDD}"/>
              </a:ext>
            </a:extLst>
          </p:cNvPr>
          <p:cNvSpPr txBox="1"/>
          <p:nvPr/>
        </p:nvSpPr>
        <p:spPr>
          <a:xfrm>
            <a:off x="1061112" y="45130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exi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1175;p39">
            <a:extLst>
              <a:ext uri="{FF2B5EF4-FFF2-40B4-BE49-F238E27FC236}">
                <a16:creationId xmlns:a16="http://schemas.microsoft.com/office/drawing/2014/main" id="{3C40D588-95B2-9A3D-E654-80BE874B0B6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6112" y="45899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Google Shape;1170;p39">
            <a:extLst>
              <a:ext uri="{FF2B5EF4-FFF2-40B4-BE49-F238E27FC236}">
                <a16:creationId xmlns:a16="http://schemas.microsoft.com/office/drawing/2014/main" id="{B52C65D6-C989-3D71-769B-B111CA7A9E29}"/>
              </a:ext>
            </a:extLst>
          </p:cNvPr>
          <p:cNvSpPr txBox="1"/>
          <p:nvPr/>
        </p:nvSpPr>
        <p:spPr>
          <a:xfrm>
            <a:off x="1061112" y="136344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gyp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1175;p39">
            <a:extLst>
              <a:ext uri="{FF2B5EF4-FFF2-40B4-BE49-F238E27FC236}">
                <a16:creationId xmlns:a16="http://schemas.microsoft.com/office/drawing/2014/main" id="{C9086A00-A871-B3EC-EB77-8E0727DAA2F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46112" y="1440390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28" name="Picture 27" descr="Logo&#10;&#10;Description automatically generated with medium confidence">
            <a:extLst>
              <a:ext uri="{FF2B5EF4-FFF2-40B4-BE49-F238E27FC236}">
                <a16:creationId xmlns:a16="http://schemas.microsoft.com/office/drawing/2014/main" id="{71AF99BF-4248-92A2-811D-0D4470150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52" y="1352767"/>
            <a:ext cx="365761" cy="243841"/>
          </a:xfrm>
          <a:prstGeom prst="rect">
            <a:avLst/>
          </a:prstGeom>
        </p:spPr>
      </p:pic>
      <p:pic>
        <p:nvPicPr>
          <p:cNvPr id="59" name="Picture 58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D0813935-9504-D990-F946-77726C7CD5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6193" y="4485464"/>
            <a:ext cx="365760" cy="20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942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8" name="Object 1157" hidden="1">
            <a:extLst>
              <a:ext uri="{FF2B5EF4-FFF2-40B4-BE49-F238E27FC236}">
                <a16:creationId xmlns:a16="http://schemas.microsoft.com/office/drawing/2014/main" id="{93A94F34-2610-412C-4E04-E8B3AE02D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71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58" name="Object 1157" hidden="1">
                        <a:extLst>
                          <a:ext uri="{FF2B5EF4-FFF2-40B4-BE49-F238E27FC236}">
                            <a16:creationId xmlns:a16="http://schemas.microsoft.com/office/drawing/2014/main" id="{93A94F34-2610-412C-4E04-E8B3AE02D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Team </a:t>
            </a:r>
            <a:r>
              <a:rPr lang="fr-FR" dirty="0" err="1"/>
              <a:t>Members</a:t>
            </a:r>
            <a:endParaRPr dirty="0"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170;p39">
            <a:extLst>
              <a:ext uri="{FF2B5EF4-FFF2-40B4-BE49-F238E27FC236}">
                <a16:creationId xmlns:a16="http://schemas.microsoft.com/office/drawing/2014/main" id="{558D19D7-816F-C289-EA2F-63E587D1EABF}"/>
              </a:ext>
            </a:extLst>
          </p:cNvPr>
          <p:cNvSpPr txBox="1"/>
          <p:nvPr/>
        </p:nvSpPr>
        <p:spPr>
          <a:xfrm>
            <a:off x="1061112" y="152285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orocco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175;p39">
            <a:extLst>
              <a:ext uri="{FF2B5EF4-FFF2-40B4-BE49-F238E27FC236}">
                <a16:creationId xmlns:a16="http://schemas.microsoft.com/office/drawing/2014/main" id="{45D5FCEA-CA28-00F9-E1E0-4E3B1014418B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1646112" y="1599806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pic>
        <p:nvPicPr>
          <p:cNvPr id="35" name="Picture 34" descr="A green leaf on a red background&#10;&#10;Description automatically generated">
            <a:extLst>
              <a:ext uri="{FF2B5EF4-FFF2-40B4-BE49-F238E27FC236}">
                <a16:creationId xmlns:a16="http://schemas.microsoft.com/office/drawing/2014/main" id="{11C10B2B-DEB8-D617-6CD5-E0E43FBA31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160" y="1454686"/>
            <a:ext cx="399840" cy="266560"/>
          </a:xfrm>
          <a:prstGeom prst="rect">
            <a:avLst/>
          </a:prstGeom>
        </p:spPr>
      </p:pic>
      <p:sp>
        <p:nvSpPr>
          <p:cNvPr id="1156" name="Google Shape;1170;p39">
            <a:extLst>
              <a:ext uri="{FF2B5EF4-FFF2-40B4-BE49-F238E27FC236}">
                <a16:creationId xmlns:a16="http://schemas.microsoft.com/office/drawing/2014/main" id="{A03E36DE-FF78-D8BC-CB29-DC40F66E529F}"/>
              </a:ext>
            </a:extLst>
          </p:cNvPr>
          <p:cNvSpPr txBox="1"/>
          <p:nvPr/>
        </p:nvSpPr>
        <p:spPr>
          <a:xfrm>
            <a:off x="768612" y="4899827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emo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57" name="Google Shape;1175;p39">
            <a:extLst>
              <a:ext uri="{FF2B5EF4-FFF2-40B4-BE49-F238E27FC236}">
                <a16:creationId xmlns:a16="http://schemas.microsoft.com/office/drawing/2014/main" id="{D120F1E8-BE48-C9CB-3E09-03A2D28AD076}"/>
              </a:ext>
            </a:extLst>
          </p:cNvPr>
          <p:cNvCxnSpPr>
            <a:cxnSpLocks/>
            <a:stCxn id="1156" idx="3"/>
          </p:cNvCxnSpPr>
          <p:nvPr/>
        </p:nvCxnSpPr>
        <p:spPr>
          <a:xfrm>
            <a:off x="1353612" y="4976777"/>
            <a:ext cx="3291648" cy="34298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412820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7566E8-20B0-E474-86E3-C5456D7C5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72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6" name="Google Shape;1566;p5"/>
          <p:cNvSpPr txBox="1">
            <a:spLocks noGrp="1"/>
          </p:cNvSpPr>
          <p:nvPr>
            <p:ph type="title"/>
          </p:nvPr>
        </p:nvSpPr>
        <p:spPr>
          <a:xfrm>
            <a:off x="551014" y="57868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usiness Translation Team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"/>
          <p:cNvSpPr txBox="1">
            <a:spLocks noGrp="1"/>
          </p:cNvSpPr>
          <p:nvPr>
            <p:ph type="title"/>
          </p:nvPr>
        </p:nvSpPr>
        <p:spPr>
          <a:xfrm>
            <a:off x="566141" y="2494127"/>
            <a:ext cx="3195154" cy="1869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</a:pPr>
            <a:r>
              <a:rPr lang="fr-FR"/>
              <a:t>Infomineo Executive Committee</a:t>
            </a:r>
            <a:endParaRPr/>
          </a:p>
        </p:txBody>
      </p:sp>
      <p:sp>
        <p:nvSpPr>
          <p:cNvPr id="326" name="Google Shape;326;p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</a:t>
            </a:fld>
            <a:endParaRPr/>
          </a:p>
        </p:txBody>
      </p:sp>
      <p:sp>
        <p:nvSpPr>
          <p:cNvPr id="327" name="Google Shape;327;p2"/>
          <p:cNvSpPr/>
          <p:nvPr/>
        </p:nvSpPr>
        <p:spPr>
          <a:xfrm>
            <a:off x="5311275" y="1314000"/>
            <a:ext cx="6075000" cy="4363800"/>
          </a:xfrm>
          <a:prstGeom prst="roundRect">
            <a:avLst>
              <a:gd name="adj" fmla="val 4811"/>
            </a:avLst>
          </a:prstGeom>
          <a:noFill/>
          <a:ln w="9525" cap="rnd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2"/>
          <p:cNvSpPr txBox="1"/>
          <p:nvPr/>
        </p:nvSpPr>
        <p:spPr>
          <a:xfrm>
            <a:off x="6864618" y="1180269"/>
            <a:ext cx="2790058" cy="2462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accent4"/>
                </a:solidFill>
                <a:latin typeface="Gill Sans"/>
                <a:ea typeface="Gill Sans"/>
                <a:cs typeface="Gill Sans"/>
                <a:sym typeface="Gill Sans"/>
              </a:rPr>
              <a:t>Infomineo Executive Committee</a:t>
            </a:r>
            <a:endParaRPr sz="1600" b="0" i="0" u="none" strike="noStrike" cap="none">
              <a:solidFill>
                <a:schemeClr val="accent4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29" name="Google Shape;329;p2"/>
          <p:cNvSpPr txBox="1"/>
          <p:nvPr/>
        </p:nvSpPr>
        <p:spPr>
          <a:xfrm>
            <a:off x="7456244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Martin</a:t>
            </a:r>
            <a:b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ronquit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2"/>
          <p:cNvSpPr txBox="1"/>
          <p:nvPr/>
        </p:nvSpPr>
        <p:spPr>
          <a:xfrm>
            <a:off x="8345492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Hamza Laraichi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sablanca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2"/>
          <p:cNvSpPr txBox="1"/>
          <p:nvPr/>
        </p:nvSpPr>
        <p:spPr>
          <a:xfrm>
            <a:off x="7635321" y="1571379"/>
            <a:ext cx="11893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Managing Partners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2" name="Google Shape;332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45492" y="1882332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33" name="Google Shape;333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56244" y="1914088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4" name="Google Shape;334;p2"/>
          <p:cNvSpPr txBox="1"/>
          <p:nvPr/>
        </p:nvSpPr>
        <p:spPr>
          <a:xfrm flipH="1">
            <a:off x="8380449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Faizel Logday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5" name="Google Shape;335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345492" y="3800364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6" name="Google Shape;336;p2"/>
          <p:cNvSpPr txBox="1"/>
          <p:nvPr/>
        </p:nvSpPr>
        <p:spPr>
          <a:xfrm>
            <a:off x="9315282" y="3428998"/>
            <a:ext cx="7460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Finance Directo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2"/>
          <p:cNvSpPr/>
          <p:nvPr/>
        </p:nvSpPr>
        <p:spPr>
          <a:xfrm>
            <a:off x="9417393" y="4629365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main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rigneux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2"/>
          <p:cNvSpPr txBox="1"/>
          <p:nvPr/>
        </p:nvSpPr>
        <p:spPr>
          <a:xfrm>
            <a:off x="8318509" y="3398221"/>
            <a:ext cx="84387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Operating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oogle Shape;339;p2" descr="A picture containing person, person, wall, cloth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325338" y="3784138"/>
            <a:ext cx="74606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0" name="Google Shape;340;p2"/>
          <p:cNvSpPr txBox="1"/>
          <p:nvPr/>
        </p:nvSpPr>
        <p:spPr>
          <a:xfrm>
            <a:off x="6336279" y="3384135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1" name="Google Shape;341;p2"/>
          <p:cNvPicPr preferRelativeResize="0"/>
          <p:nvPr/>
        </p:nvPicPr>
        <p:blipFill rotWithShape="1">
          <a:blip r:embed="rId7">
            <a:alphaModFix/>
          </a:blip>
          <a:srcRect l="3016" r="3015"/>
          <a:stretch/>
        </p:blipFill>
        <p:spPr>
          <a:xfrm>
            <a:off x="6326994" y="3810769"/>
            <a:ext cx="751200" cy="7377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2" name="Google Shape;342;p2"/>
          <p:cNvSpPr txBox="1"/>
          <p:nvPr/>
        </p:nvSpPr>
        <p:spPr>
          <a:xfrm flipH="1">
            <a:off x="6398715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ounia Boutaleb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" name="Google Shape;343;p2"/>
          <p:cNvPicPr preferRelativeResize="0"/>
          <p:nvPr/>
        </p:nvPicPr>
        <p:blipFill rotWithShape="1">
          <a:blip r:embed="rId8">
            <a:alphaModFix/>
          </a:blip>
          <a:srcRect t="4726" b="4716"/>
          <a:stretch/>
        </p:blipFill>
        <p:spPr>
          <a:xfrm>
            <a:off x="7336243" y="3825641"/>
            <a:ext cx="7512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4" name="Google Shape;344;p2"/>
          <p:cNvSpPr txBox="1"/>
          <p:nvPr/>
        </p:nvSpPr>
        <p:spPr>
          <a:xfrm>
            <a:off x="7087479" y="4640914"/>
            <a:ext cx="12846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Matteo </a:t>
            </a:r>
            <a:endParaRPr/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Gamberale</a:t>
            </a:r>
            <a:endParaRPr sz="1200" b="0" i="0" u="none" strike="noStrike" cap="none">
              <a:solidFill>
                <a:srgbClr val="000000"/>
              </a:solidFill>
              <a:highlight>
                <a:srgbClr val="FFFFFF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2"/>
          <p:cNvSpPr txBox="1"/>
          <p:nvPr/>
        </p:nvSpPr>
        <p:spPr>
          <a:xfrm>
            <a:off x="7327036" y="3398221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Growth </a:t>
            </a:r>
            <a:endParaRPr/>
          </a:p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000" b="0" i="0" u="none" strike="noStrike" cap="none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170BD3-D7A4-A7AB-63CE-93CB306563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170BD3-D7A4-A7AB-63CE-93CB30656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5" name="Google Shape;1615;p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Graphic Design Team</a:t>
            </a:r>
            <a:endParaRPr dirty="0"/>
          </a:p>
        </p:txBody>
      </p:sp>
      <p:sp>
        <p:nvSpPr>
          <p:cNvPr id="1616" name="Google Shape;1616;p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0</a:t>
            </a:fld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74BBDB-9C02-A381-A3C8-A3524993B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32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1" name="Google Shape;1681;g2017e917d32_0_20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 Data Analytics Team</a:t>
            </a:r>
            <a:endParaRPr dirty="0"/>
          </a:p>
        </p:txBody>
      </p:sp>
      <p:sp>
        <p:nvSpPr>
          <p:cNvPr id="1682" name="Google Shape;1682;g2017e917d32_0_20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1</a:t>
            </a:fld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Google Shape;350;p3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p3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3"/>
          <p:cNvSpPr/>
          <p:nvPr/>
        </p:nvSpPr>
        <p:spPr>
          <a:xfrm>
            <a:off x="3795450" y="1606635"/>
            <a:ext cx="2050990" cy="111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Research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aphic Desig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Transl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"/>
          <p:cNvSpPr/>
          <p:nvPr/>
        </p:nvSpPr>
        <p:spPr>
          <a:xfrm>
            <a:off x="10155764" y="1606635"/>
            <a:ext cx="1485071" cy="1423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uman Capit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rmation Technolo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 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Admin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ket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3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5" name="Google Shape;355;p3"/>
          <p:cNvGrpSpPr/>
          <p:nvPr/>
        </p:nvGrpSpPr>
        <p:grpSpPr>
          <a:xfrm>
            <a:off x="5916000" y="1485340"/>
            <a:ext cx="4023265" cy="3766024"/>
            <a:chOff x="6838838" y="2506636"/>
            <a:chExt cx="3580348" cy="3351426"/>
          </a:xfrm>
        </p:grpSpPr>
        <p:sp>
          <p:nvSpPr>
            <p:cNvPr id="356" name="Google Shape;356;p3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3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3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3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3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3"/>
            <p:cNvSpPr/>
            <p:nvPr/>
          </p:nvSpPr>
          <p:spPr>
            <a:xfrm>
              <a:off x="8074552" y="4631918"/>
              <a:ext cx="1147843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velopment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3" name="Google Shape;363;p3"/>
            <p:cNvSpPr/>
            <p:nvPr/>
          </p:nvSpPr>
          <p:spPr>
            <a:xfrm>
              <a:off x="9185819" y="3155079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ervice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4" name="Google Shape;364;p3"/>
            <p:cNvSpPr/>
            <p:nvPr/>
          </p:nvSpPr>
          <p:spPr>
            <a:xfrm>
              <a:off x="7182745" y="3155079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livery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Line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3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6" name="Google Shape;366;p3"/>
          <p:cNvSpPr/>
          <p:nvPr/>
        </p:nvSpPr>
        <p:spPr>
          <a:xfrm>
            <a:off x="7129001" y="5441499"/>
            <a:ext cx="1931698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Development (sale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7" name="Google Shape;367;p3"/>
          <p:cNvSpPr txBox="1"/>
          <p:nvPr/>
        </p:nvSpPr>
        <p:spPr>
          <a:xfrm>
            <a:off x="533402" y="2514600"/>
            <a:ext cx="2945132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teams are split into different service lin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8" name="Google Shape;368;p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2BB6A31-2198-3BDE-703D-309C1D36C7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196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3" name="Google Shape;373;p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553608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Development Team</a:t>
            </a:r>
            <a:endParaRPr/>
          </a:p>
        </p:txBody>
      </p:sp>
      <p:sp>
        <p:nvSpPr>
          <p:cNvPr id="374" name="Google Shape;374;p6"/>
          <p:cNvSpPr/>
          <p:nvPr/>
        </p:nvSpPr>
        <p:spPr>
          <a:xfrm>
            <a:off x="8534433" y="1389482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business opportuniti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6"/>
          <p:cNvSpPr/>
          <p:nvPr/>
        </p:nvSpPr>
        <p:spPr>
          <a:xfrm>
            <a:off x="8534433" y="1913239"/>
            <a:ext cx="3309300" cy="83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pping key stakeholders &amp; defining the appropriate action pla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6"/>
          <p:cNvSpPr/>
          <p:nvPr/>
        </p:nvSpPr>
        <p:spPr>
          <a:xfrm>
            <a:off x="8534433" y="2924307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ordinating proposals and contracting proces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6"/>
          <p:cNvSpPr/>
          <p:nvPr/>
        </p:nvSpPr>
        <p:spPr>
          <a:xfrm>
            <a:off x="8534433" y="3725063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taining an update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6"/>
          <p:cNvSpPr/>
          <p:nvPr/>
        </p:nvSpPr>
        <p:spPr>
          <a:xfrm>
            <a:off x="8534433" y="4248820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clients with necessary collater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6"/>
          <p:cNvSpPr/>
          <p:nvPr/>
        </p:nvSpPr>
        <p:spPr>
          <a:xfrm>
            <a:off x="8534432" y="5049574"/>
            <a:ext cx="3480982" cy="5539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an Account Management &amp; planning for each key accou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3" name="Google Shape;383;p6"/>
          <p:cNvCxnSpPr/>
          <p:nvPr/>
        </p:nvCxnSpPr>
        <p:spPr>
          <a:xfrm>
            <a:off x="685800" y="1181992"/>
            <a:ext cx="57798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384" name="Google Shape;384;p6"/>
          <p:cNvCxnSpPr/>
          <p:nvPr/>
        </p:nvCxnSpPr>
        <p:spPr>
          <a:xfrm>
            <a:off x="7373788" y="1181992"/>
            <a:ext cx="44751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385" name="Google Shape;385;p6"/>
          <p:cNvSpPr/>
          <p:nvPr/>
        </p:nvSpPr>
        <p:spPr>
          <a:xfrm>
            <a:off x="8733562" y="1043493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6"/>
          <p:cNvSpPr/>
          <p:nvPr/>
        </p:nvSpPr>
        <p:spPr>
          <a:xfrm>
            <a:off x="2772034" y="1009347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7" name="Google Shape;387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40233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8" name="Google Shape;388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1929278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9" name="Google Shape;389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2937753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0" name="Google Shape;390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3735916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" name="Google Shape;391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4262859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2" name="Google Shape;392;p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145442" y="5076520"/>
            <a:ext cx="259969" cy="259969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  <p:sp>
        <p:nvSpPr>
          <p:cNvPr id="419" name="Google Shape;419;p6"/>
          <p:cNvSpPr txBox="1"/>
          <p:nvPr/>
        </p:nvSpPr>
        <p:spPr>
          <a:xfrm>
            <a:off x="171095" y="2413373"/>
            <a:ext cx="1589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0" name="Google Shape;420;p6"/>
          <p:cNvCxnSpPr/>
          <p:nvPr/>
        </p:nvCxnSpPr>
        <p:spPr>
          <a:xfrm>
            <a:off x="1660083" y="2521594"/>
            <a:ext cx="1839301" cy="15596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1" name="Google Shape;421;p6"/>
          <p:cNvSpPr txBox="1"/>
          <p:nvPr/>
        </p:nvSpPr>
        <p:spPr>
          <a:xfrm>
            <a:off x="4497320" y="2403017"/>
            <a:ext cx="158962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2" name="Google Shape;422;p6"/>
          <p:cNvCxnSpPr/>
          <p:nvPr/>
        </p:nvCxnSpPr>
        <p:spPr>
          <a:xfrm>
            <a:off x="5709737" y="2495350"/>
            <a:ext cx="2067376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3" name="Google Shape;423;p6"/>
          <p:cNvSpPr txBox="1"/>
          <p:nvPr/>
        </p:nvSpPr>
        <p:spPr>
          <a:xfrm>
            <a:off x="171095" y="3848428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4" name="Google Shape;424;p6"/>
          <p:cNvCxnSpPr/>
          <p:nvPr/>
        </p:nvCxnSpPr>
        <p:spPr>
          <a:xfrm>
            <a:off x="1895243" y="3952806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5" name="Google Shape;425;p6"/>
          <p:cNvSpPr txBox="1"/>
          <p:nvPr/>
        </p:nvSpPr>
        <p:spPr>
          <a:xfrm>
            <a:off x="171094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6" name="Google Shape;426;p6"/>
          <p:cNvCxnSpPr/>
          <p:nvPr/>
        </p:nvCxnSpPr>
        <p:spPr>
          <a:xfrm>
            <a:off x="1972138" y="551950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7" name="Google Shape;427;p6"/>
          <p:cNvSpPr txBox="1"/>
          <p:nvPr/>
        </p:nvSpPr>
        <p:spPr>
          <a:xfrm>
            <a:off x="4516931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8" name="Google Shape;428;p6"/>
          <p:cNvCxnSpPr/>
          <p:nvPr/>
        </p:nvCxnSpPr>
        <p:spPr>
          <a:xfrm>
            <a:off x="5849414" y="552732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9" name="Google Shape;429;p6"/>
          <p:cNvSpPr txBox="1"/>
          <p:nvPr/>
        </p:nvSpPr>
        <p:spPr>
          <a:xfrm>
            <a:off x="5643079" y="3935894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D Lea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0" name="Google Shape;430;p6"/>
          <p:cNvCxnSpPr/>
          <p:nvPr/>
        </p:nvCxnSpPr>
        <p:spPr>
          <a:xfrm rot="10800000" flipH="1">
            <a:off x="6414734" y="4029335"/>
            <a:ext cx="1057145" cy="375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3050035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934E46-EC59-C345-CB04-E48D0C418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906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2" name="Google Shape;552;p8"/>
          <p:cNvSpPr/>
          <p:nvPr/>
        </p:nvSpPr>
        <p:spPr>
          <a:xfrm>
            <a:off x="550863" y="1993529"/>
            <a:ext cx="2651060" cy="1428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the company’s finan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strategic recommend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cast, Budget and other repor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nsfer Pric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view vendor’s contrac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ravel expenses and PO polic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3" name="Google Shape;553;p8"/>
          <p:cNvSpPr/>
          <p:nvPr/>
        </p:nvSpPr>
        <p:spPr>
          <a:xfrm>
            <a:off x="6544413" y="1993529"/>
            <a:ext cx="2651060" cy="217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and process pay slip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ll pay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voice the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 due diligence for suppli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nd check bil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gal and tax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ial state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dget controll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 travel expenses and PO polic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p8"/>
          <p:cNvSpPr/>
          <p:nvPr/>
        </p:nvSpPr>
        <p:spPr>
          <a:xfrm>
            <a:off x="550863" y="3965249"/>
            <a:ext cx="3502977" cy="1613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 contracting processes (incl. due dilige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eaning &amp; controlling of B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ections, accounts receivabl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reports and dashboards for BD tea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VP commis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pport the local admin tasks for the Dubai company (e.g. Health insura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5" name="Google Shape;555;p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Finance Team</a:t>
            </a:r>
            <a:endParaRPr dirty="0"/>
          </a:p>
        </p:txBody>
      </p:sp>
      <p:sp>
        <p:nvSpPr>
          <p:cNvPr id="556" name="Google Shape;556;p8"/>
          <p:cNvSpPr txBox="1"/>
          <p:nvPr/>
        </p:nvSpPr>
        <p:spPr>
          <a:xfrm>
            <a:off x="550863" y="1530092"/>
            <a:ext cx="185538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inance Strategic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7" name="Google Shape;557;p8"/>
          <p:cNvCxnSpPr/>
          <p:nvPr/>
        </p:nvCxnSpPr>
        <p:spPr>
          <a:xfrm>
            <a:off x="2514178" y="1637814"/>
            <a:ext cx="3279061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58" name="Google Shape;558;p8"/>
          <p:cNvSpPr txBox="1"/>
          <p:nvPr/>
        </p:nvSpPr>
        <p:spPr>
          <a:xfrm>
            <a:off x="6544413" y="1530092"/>
            <a:ext cx="174368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ountry Finance Topic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9" name="Google Shape;559;p8"/>
          <p:cNvCxnSpPr/>
          <p:nvPr/>
        </p:nvCxnSpPr>
        <p:spPr>
          <a:xfrm>
            <a:off x="8300948" y="1637814"/>
            <a:ext cx="3339887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0" name="Google Shape;560;p8"/>
          <p:cNvSpPr txBox="1"/>
          <p:nvPr/>
        </p:nvSpPr>
        <p:spPr>
          <a:xfrm>
            <a:off x="550863" y="3670118"/>
            <a:ext cx="360284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Controller Topics, supporting BD team</a:t>
            </a:r>
            <a:endParaRPr sz="1400" b="1" i="0" u="none" strike="noStrike" cap="none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61" name="Google Shape;561;p8"/>
          <p:cNvCxnSpPr/>
          <p:nvPr/>
        </p:nvCxnSpPr>
        <p:spPr>
          <a:xfrm>
            <a:off x="4314548" y="3827535"/>
            <a:ext cx="147689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7" name="Google Shape;567;p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5</a:t>
            </a:fld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4"/>
          <p:cNvSpPr/>
          <p:nvPr/>
        </p:nvSpPr>
        <p:spPr>
          <a:xfrm>
            <a:off x="560577" y="1592509"/>
            <a:ext cx="2793796" cy="1523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all steering of the Human Capital Func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2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g and implementing Infomineo HR policies across the offi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Professional Development Initia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alent Recruitment and Retention strateg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ibuting to the overall company strateg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" name="Google Shape;582;p44"/>
          <p:cNvSpPr/>
          <p:nvPr/>
        </p:nvSpPr>
        <p:spPr>
          <a:xfrm>
            <a:off x="6255453" y="4130655"/>
            <a:ext cx="221778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bor law and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any policies &amp; procedure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yroll &amp; Leave administration, incl. Social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nsation and benefit programs, incl. Health &amp; life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request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mployees Issues, and complains 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boarding/offboarding proces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p44"/>
          <p:cNvSpPr/>
          <p:nvPr/>
        </p:nvSpPr>
        <p:spPr>
          <a:xfrm>
            <a:off x="6258444" y="1576057"/>
            <a:ext cx="2841934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 Committee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ing &amp; E- Learning (Onboarding and Ongoing)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ance Evaluation </a:t>
            </a:r>
            <a:r>
              <a:rPr lang="fr-F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eer Develop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ltancy and coaching for managers and their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bility program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4" name="Google Shape;584;p44"/>
          <p:cNvSpPr/>
          <p:nvPr/>
        </p:nvSpPr>
        <p:spPr>
          <a:xfrm>
            <a:off x="521302" y="3726767"/>
            <a:ext cx="2651060" cy="13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ing new talent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ication processes and interviews management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 event planning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ent pool cultiv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 Referral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ition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5" name="Google Shape;585;p4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Human Capital</a:t>
            </a:r>
            <a:endParaRPr/>
          </a:p>
        </p:txBody>
      </p:sp>
      <p:cxnSp>
        <p:nvCxnSpPr>
          <p:cNvPr id="586" name="Google Shape;586;p44"/>
          <p:cNvCxnSpPr/>
          <p:nvPr/>
        </p:nvCxnSpPr>
        <p:spPr>
          <a:xfrm>
            <a:off x="2854359" y="1191860"/>
            <a:ext cx="282197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7" name="Google Shape;587;p44"/>
          <p:cNvSpPr txBox="1"/>
          <p:nvPr/>
        </p:nvSpPr>
        <p:spPr>
          <a:xfrm>
            <a:off x="6303759" y="3629387"/>
            <a:ext cx="3499403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R Administration &amp; Compensation &amp; Benefi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8" name="Google Shape;588;p44"/>
          <p:cNvCxnSpPr/>
          <p:nvPr/>
        </p:nvCxnSpPr>
        <p:spPr>
          <a:xfrm rot="10800000" flipH="1">
            <a:off x="9837045" y="3762199"/>
            <a:ext cx="1562792" cy="801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9" name="Google Shape;589;p44"/>
          <p:cNvSpPr txBox="1"/>
          <p:nvPr/>
        </p:nvSpPr>
        <p:spPr>
          <a:xfrm>
            <a:off x="6255520" y="1083009"/>
            <a:ext cx="295462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Professional </a:t>
            </a:r>
            <a:r>
              <a:rPr lang="fr-FR" sz="15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Development</a:t>
            </a:r>
            <a:r>
              <a:rPr lang="fr-FR" sz="15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0" name="Google Shape;590;p44"/>
          <p:cNvCxnSpPr/>
          <p:nvPr/>
        </p:nvCxnSpPr>
        <p:spPr>
          <a:xfrm>
            <a:off x="8963884" y="1215048"/>
            <a:ext cx="245805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1" name="Google Shape;591;p44"/>
          <p:cNvSpPr txBox="1"/>
          <p:nvPr/>
        </p:nvSpPr>
        <p:spPr>
          <a:xfrm>
            <a:off x="473486" y="3408930"/>
            <a:ext cx="146136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cruitment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2" name="Google Shape;592;p44"/>
          <p:cNvCxnSpPr/>
          <p:nvPr/>
        </p:nvCxnSpPr>
        <p:spPr>
          <a:xfrm>
            <a:off x="2051535" y="3555187"/>
            <a:ext cx="3607105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7" name="Google Shape;597;p44"/>
          <p:cNvSpPr txBox="1">
            <a:spLocks noGrp="1"/>
          </p:cNvSpPr>
          <p:nvPr>
            <p:ph type="sldNum" idx="12"/>
          </p:nvPr>
        </p:nvSpPr>
        <p:spPr>
          <a:xfrm>
            <a:off x="11749936" y="6537483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  <p:sp>
        <p:nvSpPr>
          <p:cNvPr id="608" name="Google Shape;608;p44"/>
          <p:cNvSpPr txBox="1"/>
          <p:nvPr/>
        </p:nvSpPr>
        <p:spPr>
          <a:xfrm>
            <a:off x="473486" y="1084138"/>
            <a:ext cx="265106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uman Capital </a:t>
            </a:r>
            <a:r>
              <a:rPr lang="fr-FR" sz="14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trategy</a:t>
            </a: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95E85D-927F-1C52-EC6F-2B07E5FEAC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460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95E85D-927F-1C52-EC6F-2B07E5FEA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9" name="Google Shape;629;p1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Operations Team</a:t>
            </a:r>
            <a:endParaRPr dirty="0"/>
          </a:p>
        </p:txBody>
      </p:sp>
      <p:sp>
        <p:nvSpPr>
          <p:cNvPr id="630" name="Google Shape;630;p10"/>
          <p:cNvSpPr/>
          <p:nvPr/>
        </p:nvSpPr>
        <p:spPr>
          <a:xfrm>
            <a:off x="5504463" y="5656051"/>
            <a:ext cx="5985689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iodic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reports for COO and manager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ist the COO in setting an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rics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oals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e incident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ated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Odoo system </a:t>
            </a:r>
            <a:r>
              <a:rPr lang="fr-FR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porting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10"/>
          <p:cNvSpPr/>
          <p:nvPr/>
        </p:nvSpPr>
        <p:spPr>
          <a:xfrm>
            <a:off x="5537879" y="1856727"/>
            <a:ext cx="5899493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g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k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r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ac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e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mand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am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ordina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ximiz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l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nowled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pitalizatio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" name="Google Shape;632;p10"/>
          <p:cNvSpPr/>
          <p:nvPr/>
        </p:nvSpPr>
        <p:spPr>
          <a:xfrm>
            <a:off x="5525489" y="3085397"/>
            <a:ext cx="6115346" cy="774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aborat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teams 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ffer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tter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(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 Local administrations)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 good local value proposition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he best talent.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ontributions to th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fitabi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perations team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" name="Google Shape;633;p10"/>
          <p:cNvSpPr txBox="1"/>
          <p:nvPr/>
        </p:nvSpPr>
        <p:spPr>
          <a:xfrm>
            <a:off x="5399704" y="5325614"/>
            <a:ext cx="299245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’ Team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mbers</a:t>
            </a: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" name="Google Shape;634;p10"/>
          <p:cNvSpPr txBox="1"/>
          <p:nvPr/>
        </p:nvSpPr>
        <p:spPr>
          <a:xfrm>
            <a:off x="5436772" y="1553221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ief Operating </a:t>
            </a:r>
            <a:r>
              <a:rPr lang="fr-FR" sz="14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5" name="Google Shape;635;p10"/>
          <p:cNvSpPr txBox="1"/>
          <p:nvPr/>
        </p:nvSpPr>
        <p:spPr>
          <a:xfrm>
            <a:off x="5436772" y="2720192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ry Managers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0" name="Google Shape;640;p10"/>
          <p:cNvSpPr txBox="1">
            <a:spLocks noGrp="1"/>
          </p:cNvSpPr>
          <p:nvPr>
            <p:ph type="sldNum" idx="12"/>
          </p:nvPr>
        </p:nvSpPr>
        <p:spPr>
          <a:xfrm>
            <a:off x="11490153" y="568329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  <p:sp>
        <p:nvSpPr>
          <p:cNvPr id="648" name="Google Shape;648;p10"/>
          <p:cNvSpPr txBox="1"/>
          <p:nvPr/>
        </p:nvSpPr>
        <p:spPr>
          <a:xfrm>
            <a:off x="5436772" y="4026356"/>
            <a:ext cx="339226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gital Transformation Manager</a:t>
            </a:r>
            <a:endParaRPr sz="1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0"/>
          <p:cNvSpPr/>
          <p:nvPr/>
        </p:nvSpPr>
        <p:spPr>
          <a:xfrm>
            <a:off x="5537879" y="4264485"/>
            <a:ext cx="6192455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d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'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igital transformation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jec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cus on process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ros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partment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upport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chnolog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ervice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y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ernal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s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n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&amp;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rovement</a:t>
            </a:r>
            <a:r>
              <a:rPr lang="fr-FR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ractices</a:t>
            </a:r>
            <a:endParaRPr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Google Shape;662;p11">
            <a:extLst>
              <a:ext uri="{FF2B5EF4-FFF2-40B4-BE49-F238E27FC236}">
                <a16:creationId xmlns:a16="http://schemas.microsoft.com/office/drawing/2014/main" id="{E1847361-0F8E-E28F-3D8D-D4ECCA0F526C}"/>
              </a:ext>
            </a:extLst>
          </p:cNvPr>
          <p:cNvCxnSpPr>
            <a:cxnSpLocks/>
          </p:cNvCxnSpPr>
          <p:nvPr/>
        </p:nvCxnSpPr>
        <p:spPr>
          <a:xfrm>
            <a:off x="5303520" y="1344327"/>
            <a:ext cx="636200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8" name="Google Shape;665;p11">
            <a:extLst>
              <a:ext uri="{FF2B5EF4-FFF2-40B4-BE49-F238E27FC236}">
                <a16:creationId xmlns:a16="http://schemas.microsoft.com/office/drawing/2014/main" id="{F813E39D-C66C-9A09-1D7A-62A3C7B63A6B}"/>
              </a:ext>
            </a:extLst>
          </p:cNvPr>
          <p:cNvCxnSpPr>
            <a:cxnSpLocks/>
          </p:cNvCxnSpPr>
          <p:nvPr/>
        </p:nvCxnSpPr>
        <p:spPr>
          <a:xfrm>
            <a:off x="537882" y="1344327"/>
            <a:ext cx="4145878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9" name="Google Shape;666;p11">
            <a:extLst>
              <a:ext uri="{FF2B5EF4-FFF2-40B4-BE49-F238E27FC236}">
                <a16:creationId xmlns:a16="http://schemas.microsoft.com/office/drawing/2014/main" id="{1A5C2B4F-9B93-0932-57DE-83F729B15439}"/>
              </a:ext>
            </a:extLst>
          </p:cNvPr>
          <p:cNvSpPr/>
          <p:nvPr/>
        </p:nvSpPr>
        <p:spPr>
          <a:xfrm>
            <a:off x="7353393" y="12019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do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667;p11">
            <a:extLst>
              <a:ext uri="{FF2B5EF4-FFF2-40B4-BE49-F238E27FC236}">
                <a16:creationId xmlns:a16="http://schemas.microsoft.com/office/drawing/2014/main" id="{4315386E-BABA-8A39-DFB3-89D5347D78F4}"/>
              </a:ext>
            </a:extLst>
          </p:cNvPr>
          <p:cNvSpPr/>
          <p:nvPr/>
        </p:nvSpPr>
        <p:spPr>
          <a:xfrm>
            <a:off x="1802156" y="12019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678;p11">
            <a:extLst>
              <a:ext uri="{FF2B5EF4-FFF2-40B4-BE49-F238E27FC236}">
                <a16:creationId xmlns:a16="http://schemas.microsoft.com/office/drawing/2014/main" id="{0FCA368F-739C-749C-F99B-90017E29367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1856727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681;p11">
            <a:extLst>
              <a:ext uri="{FF2B5EF4-FFF2-40B4-BE49-F238E27FC236}">
                <a16:creationId xmlns:a16="http://schemas.microsoft.com/office/drawing/2014/main" id="{46AF4AC8-E374-47CE-936A-827194292C84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1525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682;p11">
            <a:extLst>
              <a:ext uri="{FF2B5EF4-FFF2-40B4-BE49-F238E27FC236}">
                <a16:creationId xmlns:a16="http://schemas.microsoft.com/office/drawing/2014/main" id="{7CB8FDA0-9874-A121-39C6-87642B9D519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244632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678;p11">
            <a:extLst>
              <a:ext uri="{FF2B5EF4-FFF2-40B4-BE49-F238E27FC236}">
                <a16:creationId xmlns:a16="http://schemas.microsoft.com/office/drawing/2014/main" id="{0DABA720-9D8F-371C-6558-1A228E47238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3084396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681;p11">
            <a:extLst>
              <a:ext uri="{FF2B5EF4-FFF2-40B4-BE49-F238E27FC236}">
                <a16:creationId xmlns:a16="http://schemas.microsoft.com/office/drawing/2014/main" id="{27A651F3-7789-96EE-C8A8-232A0C9CEA5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38024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682;p11">
            <a:extLst>
              <a:ext uri="{FF2B5EF4-FFF2-40B4-BE49-F238E27FC236}">
                <a16:creationId xmlns:a16="http://schemas.microsoft.com/office/drawing/2014/main" id="{90AE1FF4-5A95-6283-2937-01A53BA8DE0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3673992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681;p11">
            <a:extLst>
              <a:ext uri="{FF2B5EF4-FFF2-40B4-BE49-F238E27FC236}">
                <a16:creationId xmlns:a16="http://schemas.microsoft.com/office/drawing/2014/main" id="{7155972E-2F22-5EF2-1AA1-79B4DA82837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31399" y="4300244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682;p11">
            <a:extLst>
              <a:ext uri="{FF2B5EF4-FFF2-40B4-BE49-F238E27FC236}">
                <a16:creationId xmlns:a16="http://schemas.microsoft.com/office/drawing/2014/main" id="{7F1D4C71-3157-5488-C21B-C89CFCF3E46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525523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681;p11">
            <a:extLst>
              <a:ext uri="{FF2B5EF4-FFF2-40B4-BE49-F238E27FC236}">
                <a16:creationId xmlns:a16="http://schemas.microsoft.com/office/drawing/2014/main" id="{C2F0C877-529E-0BA4-D887-142A4C29586E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750802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682;p11">
            <a:extLst>
              <a:ext uri="{FF2B5EF4-FFF2-40B4-BE49-F238E27FC236}">
                <a16:creationId xmlns:a16="http://schemas.microsoft.com/office/drawing/2014/main" id="{81425B9B-D35B-6FC1-7EBE-F2BCE420E4E7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27037" y="4976081"/>
            <a:ext cx="251882" cy="185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Google Shape;681;p11">
            <a:extLst>
              <a:ext uri="{FF2B5EF4-FFF2-40B4-BE49-F238E27FC236}">
                <a16:creationId xmlns:a16="http://schemas.microsoft.com/office/drawing/2014/main" id="{3E63AB9E-46EC-6688-4416-6665225DB9E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634474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Google Shape;682;p11">
            <a:extLst>
              <a:ext uri="{FF2B5EF4-FFF2-40B4-BE49-F238E27FC236}">
                <a16:creationId xmlns:a16="http://schemas.microsoft.com/office/drawing/2014/main" id="{286ECCD0-D630-9113-2902-36B6D682E25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5918063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Google Shape;681;p11">
            <a:extLst>
              <a:ext uri="{FF2B5EF4-FFF2-40B4-BE49-F238E27FC236}">
                <a16:creationId xmlns:a16="http://schemas.microsoft.com/office/drawing/2014/main" id="{1718D303-8D19-4DCB-C3FE-4B22EAF117F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252580" y="6164266"/>
            <a:ext cx="251882" cy="251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6733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C78C1EA-3E8B-EC37-F1FE-8E3B8D1C9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29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2" name="Google Shape;662;p1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3" name="Google Shape;663;p1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Information </a:t>
            </a:r>
            <a:r>
              <a:rPr lang="fr-FR" dirty="0" err="1"/>
              <a:t>Technology</a:t>
            </a:r>
            <a:r>
              <a:rPr lang="fr-FR" dirty="0"/>
              <a:t> Team</a:t>
            </a:r>
            <a:endParaRPr dirty="0"/>
          </a:p>
        </p:txBody>
      </p:sp>
      <p:sp>
        <p:nvSpPr>
          <p:cNvPr id="664" name="Google Shape;664;p1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8</a:t>
            </a:fld>
            <a:endParaRPr/>
          </a:p>
        </p:txBody>
      </p:sp>
      <p:cxnSp>
        <p:nvCxnSpPr>
          <p:cNvPr id="665" name="Google Shape;665;p1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6" name="Google Shape;666;p11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11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"/>
          <p:cNvSpPr/>
          <p:nvPr/>
        </p:nvSpPr>
        <p:spPr>
          <a:xfrm>
            <a:off x="7103560" y="1984547"/>
            <a:ext cx="4561967" cy="46166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ing and Managing IT Systems and Networ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"/>
          <p:cNvSpPr/>
          <p:nvPr/>
        </p:nvSpPr>
        <p:spPr>
          <a:xfrm>
            <a:off x="7137769" y="4507219"/>
            <a:ext cx="3832478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Onboarding/Offboard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78" name="Google Shape;678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Google Shape;679;p11"/>
          <p:cNvSpPr/>
          <p:nvPr/>
        </p:nvSpPr>
        <p:spPr>
          <a:xfrm>
            <a:off x="7124741" y="2189570"/>
            <a:ext cx="3480609" cy="52578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IT Support for all business unit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0" name="Google Shape;680;p11"/>
          <p:cNvSpPr/>
          <p:nvPr/>
        </p:nvSpPr>
        <p:spPr>
          <a:xfrm>
            <a:off x="7124741" y="2919716"/>
            <a:ext cx="4516094" cy="556563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ystem Administration and Application/Accounts Management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1" name="Google Shape;681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2572081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2" name="Google Shape;682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31113" y="3089350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3" name="Google Shape;683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2968" y="3570175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4" name="Google Shape;684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6074" y="4051000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85" name="Google Shape;685;p11"/>
          <p:cNvSpPr/>
          <p:nvPr/>
        </p:nvSpPr>
        <p:spPr>
          <a:xfrm>
            <a:off x="7137769" y="4016740"/>
            <a:ext cx="3772385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Asset Management and Purchas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6" name="Google Shape;686;p11"/>
          <p:cNvSpPr/>
          <p:nvPr/>
        </p:nvSpPr>
        <p:spPr>
          <a:xfrm>
            <a:off x="7137769" y="3617296"/>
            <a:ext cx="4827809" cy="24622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ing IT Systems security and defining IT Policie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7" name="Google Shape;687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8430" y="4568269"/>
            <a:ext cx="251882" cy="25188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48BA89-24F6-C1C3-4616-3B0A2E951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6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4" name="Google Shape;694;g121061837f4_0_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95" name="Google Shape;695;g121061837f4_0_1"/>
          <p:cNvSpPr/>
          <p:nvPr/>
        </p:nvSpPr>
        <p:spPr>
          <a:xfrm>
            <a:off x="6959711" y="2761030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Infomineo’s Marketing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g121061837f4_0_1"/>
          <p:cNvSpPr/>
          <p:nvPr/>
        </p:nvSpPr>
        <p:spPr>
          <a:xfrm>
            <a:off x="6959711" y="3279657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nitoring new content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Google Shape;697;g121061837f4_0_1"/>
          <p:cNvSpPr/>
          <p:nvPr/>
        </p:nvSpPr>
        <p:spPr>
          <a:xfrm>
            <a:off x="6959711" y="3707551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he development of marketing materi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8" name="Google Shape;698;g121061837f4_0_1"/>
          <p:cNvSpPr/>
          <p:nvPr/>
        </p:nvSpPr>
        <p:spPr>
          <a:xfrm>
            <a:off x="6959711" y="4412443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Infomineo’s web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9" name="Google Shape;699;g121061837f4_0_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arketing Team</a:t>
            </a:r>
            <a:endParaRPr dirty="0"/>
          </a:p>
        </p:txBody>
      </p:sp>
      <p:sp>
        <p:nvSpPr>
          <p:cNvPr id="700" name="Google Shape;700;g121061837f4_0_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fr-FR"/>
              <a:t>9</a:t>
            </a:fld>
            <a:endParaRPr/>
          </a:p>
        </p:txBody>
      </p:sp>
      <p:sp>
        <p:nvSpPr>
          <p:cNvPr id="701" name="Google Shape;701;g121061837f4_0_1"/>
          <p:cNvSpPr/>
          <p:nvPr/>
        </p:nvSpPr>
        <p:spPr>
          <a:xfrm>
            <a:off x="6959711" y="2056137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and improving lead generation campaig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2" name="Google Shape;702;g121061837f4_0_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03" name="Google Shape;703;g121061837f4_0_1"/>
          <p:cNvSpPr/>
          <p:nvPr/>
        </p:nvSpPr>
        <p:spPr>
          <a:xfrm>
            <a:off x="8267793" y="1557549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g121061837f4_0_1"/>
          <p:cNvSpPr/>
          <p:nvPr/>
        </p:nvSpPr>
        <p:spPr>
          <a:xfrm>
            <a:off x="2330476" y="1557549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5" name="Google Shape;70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07303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6" name="Google Shape;706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2801312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9" name="Google Shape;709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30151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0" name="Google Shape;710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37352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3" name="Google Shape;713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44464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5" name="Google Shape;715;g121061837f4_0_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09932" y="5031726"/>
            <a:ext cx="251881" cy="251881"/>
          </a:xfrm>
          <a:prstGeom prst="rect">
            <a:avLst/>
          </a:prstGeom>
          <a:noFill/>
          <a:ln>
            <a:noFill/>
          </a:ln>
        </p:spPr>
      </p:pic>
      <p:sp>
        <p:nvSpPr>
          <p:cNvPr id="716" name="Google Shape;716;g121061837f4_0_1"/>
          <p:cNvSpPr/>
          <p:nvPr/>
        </p:nvSpPr>
        <p:spPr>
          <a:xfrm>
            <a:off x="6959711" y="5006609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’s sector and region content development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1066</Words>
  <Application>Microsoft Office PowerPoint</Application>
  <PresentationFormat>Widescreen</PresentationFormat>
  <Paragraphs>223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Gill Sans</vt:lpstr>
      <vt:lpstr>Calibri</vt:lpstr>
      <vt:lpstr>Libre Franklin</vt:lpstr>
      <vt:lpstr>Noto Sans</vt:lpstr>
      <vt:lpstr>Arial</vt:lpstr>
      <vt:lpstr>Franklin Gothic</vt:lpstr>
      <vt:lpstr>Office Theme</vt:lpstr>
      <vt:lpstr>think-cell Slide</vt:lpstr>
      <vt:lpstr>Who’s Who</vt:lpstr>
      <vt:lpstr>Infomineo Executive Committee</vt:lpstr>
      <vt:lpstr>PowerPoint Presentation</vt:lpstr>
      <vt:lpstr>Business Development Team</vt:lpstr>
      <vt:lpstr>Finance Team</vt:lpstr>
      <vt:lpstr>Human Capital</vt:lpstr>
      <vt:lpstr>Operations Team</vt:lpstr>
      <vt:lpstr>Information Technology Team</vt:lpstr>
      <vt:lpstr>Marketing Team</vt:lpstr>
      <vt:lpstr>Office Admin Team</vt:lpstr>
      <vt:lpstr>PowerPoint Presentation</vt:lpstr>
      <vt:lpstr>Business Research Leaders</vt:lpstr>
      <vt:lpstr>IKT Team Members</vt:lpstr>
      <vt:lpstr>IKT Team Members</vt:lpstr>
      <vt:lpstr>MCK Team Members</vt:lpstr>
      <vt:lpstr>MCK Team Members</vt:lpstr>
      <vt:lpstr>BCG Team Members</vt:lpstr>
      <vt:lpstr>BCG Team Members</vt:lpstr>
      <vt:lpstr>Business Translation Team</vt:lpstr>
      <vt:lpstr>Graphic Design Team</vt:lpstr>
      <vt:lpstr> Data Analytics Te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’s Who</dc:title>
  <dc:creator>Muhammad Fattouh</dc:creator>
  <cp:lastModifiedBy>Casa 3</cp:lastModifiedBy>
  <cp:revision>64</cp:revision>
  <dcterms:created xsi:type="dcterms:W3CDTF">2020-11-03T07:44:30Z</dcterms:created>
  <dcterms:modified xsi:type="dcterms:W3CDTF">2023-11-28T19:46:50Z</dcterms:modified>
</cp:coreProperties>
</file>